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9"/>
  </p:notesMasterIdLst>
  <p:sldIdLst>
    <p:sldId id="398" r:id="rId2"/>
    <p:sldId id="500" r:id="rId3"/>
    <p:sldId id="499" r:id="rId4"/>
    <p:sldId id="497" r:id="rId5"/>
    <p:sldId id="495" r:id="rId6"/>
    <p:sldId id="496" r:id="rId7"/>
    <p:sldId id="498" r:id="rId8"/>
    <p:sldId id="459" r:id="rId9"/>
    <p:sldId id="461" r:id="rId10"/>
    <p:sldId id="465" r:id="rId11"/>
    <p:sldId id="463" r:id="rId12"/>
    <p:sldId id="464" r:id="rId13"/>
    <p:sldId id="493" r:id="rId14"/>
    <p:sldId id="494" r:id="rId15"/>
    <p:sldId id="434" r:id="rId16"/>
    <p:sldId id="432" r:id="rId17"/>
    <p:sldId id="433" r:id="rId18"/>
    <p:sldId id="412" r:id="rId19"/>
    <p:sldId id="419" r:id="rId20"/>
    <p:sldId id="482" r:id="rId21"/>
    <p:sldId id="483" r:id="rId22"/>
    <p:sldId id="484" r:id="rId23"/>
    <p:sldId id="486" r:id="rId24"/>
    <p:sldId id="487" r:id="rId25"/>
    <p:sldId id="488" r:id="rId26"/>
    <p:sldId id="489" r:id="rId27"/>
    <p:sldId id="490" r:id="rId28"/>
    <p:sldId id="491" r:id="rId29"/>
    <p:sldId id="492" r:id="rId30"/>
    <p:sldId id="402" r:id="rId31"/>
    <p:sldId id="404" r:id="rId32"/>
    <p:sldId id="403" r:id="rId33"/>
    <p:sldId id="453" r:id="rId34"/>
    <p:sldId id="454" r:id="rId35"/>
    <p:sldId id="455" r:id="rId36"/>
    <p:sldId id="456" r:id="rId37"/>
    <p:sldId id="443" r:id="rId38"/>
    <p:sldId id="445" r:id="rId39"/>
    <p:sldId id="405" r:id="rId40"/>
    <p:sldId id="447" r:id="rId41"/>
    <p:sldId id="448" r:id="rId42"/>
    <p:sldId id="449" r:id="rId43"/>
    <p:sldId id="450" r:id="rId44"/>
    <p:sldId id="479" r:id="rId45"/>
    <p:sldId id="480" r:id="rId46"/>
    <p:sldId id="406" r:id="rId47"/>
    <p:sldId id="457" r:id="rId48"/>
    <p:sldId id="473" r:id="rId49"/>
    <p:sldId id="474" r:id="rId50"/>
    <p:sldId id="475" r:id="rId51"/>
    <p:sldId id="476" r:id="rId52"/>
    <p:sldId id="477" r:id="rId53"/>
    <p:sldId id="408" r:id="rId54"/>
    <p:sldId id="458" r:id="rId55"/>
    <p:sldId id="407" r:id="rId56"/>
    <p:sldId id="470" r:id="rId57"/>
    <p:sldId id="471" r:id="rId58"/>
    <p:sldId id="481" r:id="rId59"/>
    <p:sldId id="478" r:id="rId60"/>
    <p:sldId id="401" r:id="rId61"/>
    <p:sldId id="409" r:id="rId62"/>
    <p:sldId id="410" r:id="rId63"/>
    <p:sldId id="418" r:id="rId64"/>
    <p:sldId id="451" r:id="rId65"/>
    <p:sldId id="466" r:id="rId66"/>
    <p:sldId id="468" r:id="rId67"/>
    <p:sldId id="469" r:id="rId68"/>
  </p:sldIdLst>
  <p:sldSz cx="9144000" cy="6858000" type="screen4x3"/>
  <p:notesSz cx="6794500" cy="9931400"/>
  <p:custDataLst>
    <p:tags r:id="rId7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0000FF"/>
    <a:srgbClr val="00CC00"/>
    <a:srgbClr val="99FFCC"/>
    <a:srgbClr val="DDFFDD"/>
    <a:srgbClr val="CCFFCC"/>
    <a:srgbClr val="FFFF99"/>
    <a:srgbClr val="00FF00"/>
    <a:srgbClr val="6699FF"/>
    <a:srgbClr val="4ED2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6238" autoAdjust="0"/>
  </p:normalViewPr>
  <p:slideViewPr>
    <p:cSldViewPr showGuides="1">
      <p:cViewPr varScale="1">
        <p:scale>
          <a:sx n="110" d="100"/>
          <a:sy n="110" d="100"/>
        </p:scale>
        <p:origin x="2088" y="108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1-14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1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</a:t>
            </a:r>
            <a:r>
              <a:rPr lang="en-US" sz="1000" b="1" dirty="0" err="1">
                <a:solidFill>
                  <a:schemeClr val="tx1"/>
                </a:solidFill>
              </a:rPr>
              <a:t>B4P</a:t>
            </a:r>
            <a:r>
              <a:rPr lang="en-US" sz="10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445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 only)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4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60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396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4005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229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3636000" y="2925000"/>
            <a:ext cx="0" cy="20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4005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2A96DF3-50C6-4807-8D71-C7C9C8AB600E}"/>
              </a:ext>
            </a:extLst>
          </p:cNvPr>
          <p:cNvCxnSpPr>
            <a:cxnSpLocks/>
          </p:cNvCxnSpPr>
          <p:nvPr/>
        </p:nvCxnSpPr>
        <p:spPr>
          <a:xfrm>
            <a:off x="1404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941000"/>
            <a:ext cx="424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733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733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7A0E850-4BC5-42D3-A5CF-47155EDE64FE}"/>
              </a:ext>
            </a:extLst>
          </p:cNvPr>
          <p:cNvCxnSpPr>
            <a:cxnSpLocks/>
          </p:cNvCxnSpPr>
          <p:nvPr/>
        </p:nvCxnSpPr>
        <p:spPr>
          <a:xfrm>
            <a:off x="2412000" y="4581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B786CCE6-6D0B-446F-B834-465FBAD7B347}"/>
              </a:ext>
            </a:extLst>
          </p:cNvPr>
          <p:cNvSpPr/>
          <p:nvPr/>
        </p:nvSpPr>
        <p:spPr>
          <a:xfrm>
            <a:off x="2412000" y="4581000"/>
            <a:ext cx="93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accessible</a:t>
            </a:r>
          </a:p>
          <a:p>
            <a:r>
              <a:rPr lang="en-US" sz="800" dirty="0">
                <a:solidFill>
                  <a:schemeClr val="tx1"/>
                </a:solidFill>
              </a:rPr>
              <a:t>or locked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4860000" y="4436904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4860000" y="4940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4860000" y="5444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4644000" y="4437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4644000" y="5229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5868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5868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4860000" y="4221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4860000" y="522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AA273494-E2A1-4AF1-B5F1-7DD5179E5BF4}"/>
              </a:ext>
            </a:extLst>
          </p:cNvPr>
          <p:cNvCxnSpPr>
            <a:cxnSpLocks/>
          </p:cNvCxnSpPr>
          <p:nvPr/>
        </p:nvCxnSpPr>
        <p:spPr>
          <a:xfrm>
            <a:off x="5868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631199C1-B38D-42AE-A8EA-F866B0025F84}"/>
              </a:ext>
            </a:extLst>
          </p:cNvPr>
          <p:cNvCxnSpPr>
            <a:cxnSpLocks/>
          </p:cNvCxnSpPr>
          <p:nvPr/>
        </p:nvCxnSpPr>
        <p:spPr>
          <a:xfrm>
            <a:off x="5868000" y="57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8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123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xplore &amp;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4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50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2235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05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3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061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415549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7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694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26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478366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42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699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57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86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rom files, databas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r>
              <a:rPr lang="en-US" sz="800" dirty="0">
                <a:solidFill>
                  <a:schemeClr val="tx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1238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extrac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415549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keyword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iffere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umber 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42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bin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multipl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dundant data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669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your table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93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45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endParaRPr lang="en-US" sz="800" dirty="0">
              <a:solidFill>
                <a:schemeClr val="tx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89696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2154</Words>
  <Application>Microsoft Office PowerPoint</Application>
  <PresentationFormat>Bildschirmpräsentation (4:3)</PresentationFormat>
  <Paragraphs>3135</Paragraphs>
  <Slides>67</Slides>
  <Notes>4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7</vt:i4>
      </vt:variant>
    </vt:vector>
  </HeadingPairs>
  <TitlesOfParts>
    <vt:vector size="74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82</cp:revision>
  <cp:lastPrinted>2014-03-14T08:12:43Z</cp:lastPrinted>
  <dcterms:created xsi:type="dcterms:W3CDTF">2013-11-22T07:35:27Z</dcterms:created>
  <dcterms:modified xsi:type="dcterms:W3CDTF">2020-11-14T12:53:25Z</dcterms:modified>
</cp:coreProperties>
</file>